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7" r:id="rId4"/>
  </p:sldMasterIdLst>
  <p:notesMasterIdLst>
    <p:notesMasterId r:id="rId6"/>
  </p:notesMasterIdLst>
  <p:sldIdLst>
    <p:sldId id="2147138269" r:id="rId5"/>
  </p:sldIdLst>
  <p:sldSz cx="12192000" cy="6858000"/>
  <p:notesSz cx="6858000" cy="9144000"/>
  <p:custDataLst>
    <p:tags r:id="rId7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Home" id="{6E434219-EE1B-4F89-B686-8AE3F004B9B6}">
          <p14:sldIdLst/>
        </p14:section>
        <p14:section name="Executive Summary" id="{A4E3B809-A84F-4CF0-95E9-03EB0C239E90}">
          <p14:sldIdLst/>
        </p14:section>
        <p14:section name="360º value" id="{9B96BF87-4B6F-4698-A240-7A35754A4A6C}">
          <p14:sldIdLst>
            <p14:sldId id="2147138269"/>
          </p14:sldIdLst>
        </p14:section>
        <p14:section name="Value proposition" id="{C8739B10-C560-4E53-B793-FEAF4517455E}">
          <p14:sldIdLst/>
        </p14:section>
        <p14:section name="Dimension 1 - Consolidate AM/AD" id="{C51E501E-4F8D-4930-B471-B92F8A4EC20A}">
          <p14:sldIdLst/>
        </p14:section>
        <p14:section name="Dimension 2 - Evolve Cloud" id="{A3DA063D-3673-4BD7-BDD7-66D7799ED565}">
          <p14:sldIdLst/>
        </p14:section>
        <p14:section name="Dimension 3 - Transform IT" id="{040393D6-F9A2-41BF-BBA7-0710CBB4BA03}">
          <p14:sldIdLst/>
        </p14:section>
        <p14:section name="Dimension 4 - Capture New Revenue Streams" id="{DB0CF50F-E540-4A5A-B43F-B63C035CA704}">
          <p14:sldIdLst/>
        </p14:section>
        <p14:section name="Business Case" id="{742B6EFE-381D-4FE2-8898-B98FE8DDF66F}">
          <p14:sldIdLst/>
        </p14:section>
        <p14:section name="Appendix" id="{8EB252FF-AB39-4842-BCE4-C54F87081D05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bella" initials="A" lastIdx="8" clrIdx="0">
    <p:extLst>
      <p:ext uri="{19B8F6BF-5375-455C-9EA6-DF929625EA0E}">
        <p15:presenceInfo xmlns:p15="http://schemas.microsoft.com/office/powerpoint/2012/main" userId="S::anabella.r.lombardi@accenture.com::78ba9f0c-f48b-4dfd-bf33-2f12f1ea55bb" providerId="AD"/>
      </p:ext>
    </p:extLst>
  </p:cmAuthor>
  <p:cmAuthor id="2" name="Chittransh, Aishwar" initials="CA" lastIdx="1" clrIdx="1">
    <p:extLst>
      <p:ext uri="{19B8F6BF-5375-455C-9EA6-DF929625EA0E}">
        <p15:presenceInfo xmlns:p15="http://schemas.microsoft.com/office/powerpoint/2012/main" userId="S::aishwar.chittransh@accenture.com::e2af4600-f9e4-425f-b207-c45895d543e0" providerId="AD"/>
      </p:ext>
    </p:extLst>
  </p:cmAuthor>
  <p:cmAuthor id="3" name="Lopes, Sonia B." initials="LSB" lastIdx="2" clrIdx="2">
    <p:extLst>
      <p:ext uri="{19B8F6BF-5375-455C-9EA6-DF929625EA0E}">
        <p15:presenceInfo xmlns:p15="http://schemas.microsoft.com/office/powerpoint/2012/main" userId="S::sonia.b.lopes@accenture.com::2ef0895f-4fb6-41be-bc8f-d20b0b1e4f0a" providerId="AD"/>
      </p:ext>
    </p:extLst>
  </p:cmAuthor>
  <p:cmAuthor id="4" name="Bonilla, Antonio" initials="BA" lastIdx="1" clrIdx="3">
    <p:extLst>
      <p:ext uri="{19B8F6BF-5375-455C-9EA6-DF929625EA0E}">
        <p15:presenceInfo xmlns:p15="http://schemas.microsoft.com/office/powerpoint/2012/main" userId="S::antonio.bonilla@accenture.com::aa0ad87c-db70-44bc-8d60-985d49520ab5" providerId="AD"/>
      </p:ext>
    </p:extLst>
  </p:cmAuthor>
  <p:cmAuthor id="5" name="Vidal, Lee" initials="VL" lastIdx="4" clrIdx="4">
    <p:extLst>
      <p:ext uri="{19B8F6BF-5375-455C-9EA6-DF929625EA0E}">
        <p15:presenceInfo xmlns:p15="http://schemas.microsoft.com/office/powerpoint/2012/main" userId="Vidal, Lee" providerId="None"/>
      </p:ext>
    </p:extLst>
  </p:cmAuthor>
  <p:cmAuthor id="6" name="Ellis, Libby" initials="EL" lastIdx="2" clrIdx="5">
    <p:extLst>
      <p:ext uri="{19B8F6BF-5375-455C-9EA6-DF929625EA0E}">
        <p15:presenceInfo xmlns:p15="http://schemas.microsoft.com/office/powerpoint/2012/main" userId="S::libby.ellis@accenture.com::52edee60-ee54-4a8d-ad30-432db8b6621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00FF"/>
    <a:srgbClr val="A14EF8"/>
    <a:srgbClr val="7500C0"/>
    <a:srgbClr val="D6DCE5"/>
    <a:srgbClr val="460073"/>
    <a:srgbClr val="595959"/>
    <a:srgbClr val="A055F5"/>
    <a:srgbClr val="CC0099"/>
    <a:srgbClr val="CC00CC"/>
    <a:srgbClr val="3054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3478A3-5DEC-486D-815F-463E73860F83}" v="12" dt="2021-07-26T09:34:00.336"/>
    <p1510:client id="{94D37268-8D27-CC4C-A2CB-4A0AB580FBD5}" v="18" dt="2021-07-26T10:19:32.5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5611"/>
    <p:restoredTop sz="94721"/>
  </p:normalViewPr>
  <p:slideViewPr>
    <p:cSldViewPr snapToGrid="0">
      <p:cViewPr varScale="1">
        <p:scale>
          <a:sx n="102" d="100"/>
          <a:sy n="102" d="100"/>
        </p:scale>
        <p:origin x="114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EB2A1-2E18-4972-A034-A5E116ED03B8}" type="datetimeFigureOut">
              <a:rPr lang="es-ES" smtClean="0"/>
              <a:t>03/09/2021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8B18C1-20D2-46A3-87BF-2C3F443526AF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664294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ccou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6E8A87-18DA-4CCE-A8C2-BDBC489258C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252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301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DE4595-7A63-42B9-A915-393ADB6FC8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0384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DE4595-7A63-42B9-A915-393ADB6FC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3BE3844E-B646-415D-8A8E-EC4BEAE33A6B}"/>
              </a:ext>
            </a:extLst>
          </p:cNvPr>
          <p:cNvSpPr txBox="1"/>
          <p:nvPr userDrawn="1"/>
        </p:nvSpPr>
        <p:spPr>
          <a:xfrm>
            <a:off x="7315200" y="6530874"/>
            <a:ext cx="4114800" cy="198318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>
                    <a:alpha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pyright ©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911384-4678-4C03-A2B4-2FFAE9B24AD9}"/>
              </a:ext>
            </a:extLst>
          </p:cNvPr>
          <p:cNvSpPr txBox="1"/>
          <p:nvPr userDrawn="1"/>
        </p:nvSpPr>
        <p:spPr>
          <a:xfrm>
            <a:off x="11484746" y="6530874"/>
            <a:ext cx="326254" cy="19831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66F62BF7-D901-417A-B6AE-FDFD615EC2C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alpha val="75000"/>
                </a:srgb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719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Graphik Bold" panose="020B0503030202060203" pitchFamily="34" charset="77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2286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44000" algn="l" defTabSz="2286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144000" algn="l" defTabSz="2286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144000" algn="l" defTabSz="2286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  <p15:guide id="5" orient="horz" pos="867" userDrawn="1">
          <p15:clr>
            <a:srgbClr val="C35EA4"/>
          </p15:clr>
        </p15:guide>
        <p15:guide id="6" pos="3840" userDrawn="1">
          <p15:clr>
            <a:srgbClr val="C35EA4"/>
          </p15:clr>
        </p15:guide>
        <p15:guide id="7" pos="2026" userDrawn="1">
          <p15:clr>
            <a:srgbClr val="C35EA4"/>
          </p15:clr>
        </p15:guide>
        <p15:guide id="10" pos="5654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9581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E THIS MASTER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 Semibold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IMP_Acc_PPT_Tmplt_Graphik_210225_Fixed_Accessible.potx" id="{80BF15C9-A5DA-472C-9F1E-82F4EBB43D59}" vid="{02DD174B-CE7A-418B-90DA-AC9D16AAE5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72A7F77464DE4BAF2456E4F373D0FF" ma:contentTypeVersion="10" ma:contentTypeDescription="Create a new document." ma:contentTypeScope="" ma:versionID="1c61b222565d451f9b039e8df85b8a8e">
  <xsd:schema xmlns:xsd="http://www.w3.org/2001/XMLSchema" xmlns:xs="http://www.w3.org/2001/XMLSchema" xmlns:p="http://schemas.microsoft.com/office/2006/metadata/properties" xmlns:ns2="a5e1fc34-45cf-4831-a54f-321f6bd4f143" xmlns:ns3="c595555f-31aa-4b44-8e90-0ff9cda6899f" targetNamespace="http://schemas.microsoft.com/office/2006/metadata/properties" ma:root="true" ma:fieldsID="51036014d7f2eea187ba6f2db624503b" ns2:_="" ns3:_="">
    <xsd:import namespace="a5e1fc34-45cf-4831-a54f-321f6bd4f143"/>
    <xsd:import namespace="c595555f-31aa-4b44-8e90-0ff9cda689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e1fc34-45cf-4831-a54f-321f6bd4f1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5555f-31aa-4b44-8e90-0ff9cda6899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1CE22D-B71A-4792-9739-7CB1DE5AE903}">
  <ds:schemaRefs>
    <ds:schemaRef ds:uri="a5e1fc34-45cf-4831-a54f-321f6bd4f143"/>
    <ds:schemaRef ds:uri="c595555f-31aa-4b44-8e90-0ff9cda6899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E833162-4336-43C5-96F5-11CFD9E93897}">
  <ds:schemaRefs>
    <ds:schemaRef ds:uri="a5e1fc34-45cf-4831-a54f-321f6bd4f143"/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c595555f-31aa-4b44-8e90-0ff9cda6899f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14A414F-95DD-492F-8F9C-7FA735DEBE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31</TotalTime>
  <Words>2</Words>
  <Application>Microsoft Office PowerPoint</Application>
  <PresentationFormat>Widescreen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raphik</vt:lpstr>
      <vt:lpstr>Graphik Bold</vt:lpstr>
      <vt:lpstr>USE THIS MASTER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ur, Ricardo</dc:creator>
  <cp:lastModifiedBy>user</cp:lastModifiedBy>
  <cp:revision>11</cp:revision>
  <dcterms:created xsi:type="dcterms:W3CDTF">2021-01-21T19:48:35Z</dcterms:created>
  <dcterms:modified xsi:type="dcterms:W3CDTF">2021-09-04T08:3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72A7F77464DE4BAF2456E4F373D0FF</vt:lpwstr>
  </property>
</Properties>
</file>